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257" r:id="rId2"/>
    <p:sldId id="271" r:id="rId3"/>
    <p:sldId id="275" r:id="rId4"/>
    <p:sldId id="259" r:id="rId5"/>
    <p:sldId id="301" r:id="rId6"/>
    <p:sldId id="267" r:id="rId7"/>
    <p:sldId id="292" r:id="rId8"/>
    <p:sldId id="287" r:id="rId9"/>
    <p:sldId id="293" r:id="rId10"/>
    <p:sldId id="294" r:id="rId11"/>
    <p:sldId id="295" r:id="rId12"/>
    <p:sldId id="278" r:id="rId13"/>
    <p:sldId id="296" r:id="rId14"/>
    <p:sldId id="297" r:id="rId15"/>
    <p:sldId id="298" r:id="rId16"/>
    <p:sldId id="300" r:id="rId17"/>
    <p:sldId id="299" r:id="rId18"/>
    <p:sldId id="270" r:id="rId19"/>
    <p:sldId id="302" r:id="rId20"/>
    <p:sldId id="276" r:id="rId21"/>
    <p:sldId id="274" r:id="rId22"/>
    <p:sldId id="272" r:id="rId23"/>
    <p:sldId id="290" r:id="rId24"/>
    <p:sldId id="285" r:id="rId25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8" autoAdjust="0"/>
    <p:restoredTop sz="91575" autoAdjust="0"/>
  </p:normalViewPr>
  <p:slideViewPr>
    <p:cSldViewPr snapToGrid="0">
      <p:cViewPr>
        <p:scale>
          <a:sx n="87" d="100"/>
          <a:sy n="87" d="100"/>
        </p:scale>
        <p:origin x="770" y="-5"/>
      </p:cViewPr>
      <p:guideLst/>
    </p:cSldViewPr>
  </p:slideViewPr>
  <p:outlineViewPr>
    <p:cViewPr>
      <p:scale>
        <a:sx n="33" d="100"/>
        <a:sy n="33" d="100"/>
      </p:scale>
      <p:origin x="0" y="-23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3/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016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must match existing account (Exhibit 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Login information must be correct (Exhibit 4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89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sign up, users need to input their first name, last name and confirm their PIN.</a:t>
            </a:r>
          </a:p>
          <a:p>
            <a:r>
              <a:rPr lang="en-US" dirty="0"/>
              <a:t>No null values will be accepted (e. g. Mari must have a PIN)</a:t>
            </a:r>
          </a:p>
          <a:p>
            <a:r>
              <a:rPr lang="en-US" dirty="0"/>
              <a:t>The PIN/Confirm PIN must match</a:t>
            </a:r>
          </a:p>
          <a:p>
            <a:r>
              <a:rPr lang="en-US" dirty="0"/>
              <a:t>The PIN must consist of numbers, can be any size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03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must match existing account (Exhibit 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Login information must be correct (Exhibit 4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785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must match existing account (Exhibit 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Login information must be correct (Exhibit 4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88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189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77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3051C2D-1D2B-4AD4-B5E8-90B674B23A85}"/>
              </a:ext>
            </a:extLst>
          </p:cNvPr>
          <p:cNvSpPr/>
          <p:nvPr/>
        </p:nvSpPr>
        <p:spPr>
          <a:xfrm>
            <a:off x="2272456" y="3983011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9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553066B-5DF8-4065-B00C-EEF91868C931}"/>
              </a:ext>
            </a:extLst>
          </p:cNvPr>
          <p:cNvSpPr/>
          <p:nvPr/>
        </p:nvSpPr>
        <p:spPr>
          <a:xfrm>
            <a:off x="632363" y="1098639"/>
            <a:ext cx="3813048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First and Last name combination cannot already be in u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9DE4375-CFE9-4766-A1F6-205A3FB988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869" y="1430373"/>
            <a:ext cx="3813048" cy="2560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8938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87EF04-F5D4-4F9B-A5FD-61BD13D86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AE65C2-BDFC-4756-9EC5-E2D92260A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- Main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E15D0-08BA-4F58-9666-5BD06252B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4481D5-479E-485D-AA71-A5045201DF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A93C72E-3A17-4F28-B86F-3637CB92BD7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632549" y="2114137"/>
            <a:ext cx="5878902" cy="197843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C860C5D-574A-426C-B29A-AE5B8597FD76}"/>
              </a:ext>
            </a:extLst>
          </p:cNvPr>
          <p:cNvSpPr/>
          <p:nvPr/>
        </p:nvSpPr>
        <p:spPr>
          <a:xfrm>
            <a:off x="1387938" y="1515505"/>
            <a:ext cx="1641011" cy="54564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ATM keeps track of what bills are inside of it on the server. Displayed in header once user is authenticated.</a:t>
            </a:r>
          </a:p>
        </p:txBody>
      </p:sp>
      <p:sp>
        <p:nvSpPr>
          <p:cNvPr id="11" name="Arrow: Up 10">
            <a:extLst>
              <a:ext uri="{FF2B5EF4-FFF2-40B4-BE49-F238E27FC236}">
                <a16:creationId xmlns:a16="http://schemas.microsoft.com/office/drawing/2014/main" id="{54F033F8-ED54-43EB-A9DB-E74EE0C52125}"/>
              </a:ext>
            </a:extLst>
          </p:cNvPr>
          <p:cNvSpPr/>
          <p:nvPr/>
        </p:nvSpPr>
        <p:spPr>
          <a:xfrm>
            <a:off x="2114754" y="1256335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2C1EA5-2C18-4341-A6B4-35F1F3F0C959}"/>
              </a:ext>
            </a:extLst>
          </p:cNvPr>
          <p:cNvSpPr/>
          <p:nvPr/>
        </p:nvSpPr>
        <p:spPr>
          <a:xfrm>
            <a:off x="7000407" y="1531222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User may conveniently logout by clicking this button in the header</a:t>
            </a:r>
          </a:p>
        </p:txBody>
      </p:sp>
      <p:sp>
        <p:nvSpPr>
          <p:cNvPr id="13" name="Arrow: Up 12">
            <a:extLst>
              <a:ext uri="{FF2B5EF4-FFF2-40B4-BE49-F238E27FC236}">
                <a16:creationId xmlns:a16="http://schemas.microsoft.com/office/drawing/2014/main" id="{E69E12D2-9845-49E7-B32A-190633C1F4D1}"/>
              </a:ext>
            </a:extLst>
          </p:cNvPr>
          <p:cNvSpPr/>
          <p:nvPr/>
        </p:nvSpPr>
        <p:spPr>
          <a:xfrm>
            <a:off x="8190875" y="1272052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FBAEF7-158C-4AEC-AF2A-40556B7181BE}"/>
              </a:ext>
            </a:extLst>
          </p:cNvPr>
          <p:cNvSpPr/>
          <p:nvPr/>
        </p:nvSpPr>
        <p:spPr>
          <a:xfrm>
            <a:off x="3204169" y="1513183"/>
            <a:ext cx="1641011" cy="54564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Money is emptied out and restocked at 12:00 AM each day, loaded with 500 $20 bill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44C25C5-C01F-4839-81FF-F9D8FB513298}"/>
              </a:ext>
            </a:extLst>
          </p:cNvPr>
          <p:cNvCxnSpPr>
            <a:stCxn id="14" idx="1"/>
            <a:endCxn id="10" idx="3"/>
          </p:cNvCxnSpPr>
          <p:nvPr/>
        </p:nvCxnSpPr>
        <p:spPr>
          <a:xfrm flipH="1">
            <a:off x="3028949" y="1786005"/>
            <a:ext cx="175220" cy="23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17F0424-41C4-4F48-80B1-0DE30D6ACF02}"/>
              </a:ext>
            </a:extLst>
          </p:cNvPr>
          <p:cNvSpPr/>
          <p:nvPr/>
        </p:nvSpPr>
        <p:spPr>
          <a:xfrm>
            <a:off x="5705208" y="3542402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o view your account balance, click “Balance Inquiry”</a:t>
            </a:r>
          </a:p>
        </p:txBody>
      </p:sp>
      <p:sp>
        <p:nvSpPr>
          <p:cNvPr id="18" name="Arrow: Up 17">
            <a:extLst>
              <a:ext uri="{FF2B5EF4-FFF2-40B4-BE49-F238E27FC236}">
                <a16:creationId xmlns:a16="http://schemas.microsoft.com/office/drawing/2014/main" id="{B6E8818A-3F41-4BBE-B0F5-028FFE538494}"/>
              </a:ext>
            </a:extLst>
          </p:cNvPr>
          <p:cNvSpPr/>
          <p:nvPr/>
        </p:nvSpPr>
        <p:spPr>
          <a:xfrm rot="16200000">
            <a:off x="5477245" y="3591739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89">
            <a:extLst>
              <a:ext uri="{FF2B5EF4-FFF2-40B4-BE49-F238E27FC236}">
                <a16:creationId xmlns:a16="http://schemas.microsoft.com/office/drawing/2014/main" id="{94792658-F6E7-4484-A9EB-FE71C7106608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20" name="AutoShape 90">
              <a:extLst>
                <a:ext uri="{FF2B5EF4-FFF2-40B4-BE49-F238E27FC236}">
                  <a16:creationId xmlns:a16="http://schemas.microsoft.com/office/drawing/2014/main" id="{8E5B447F-56F3-487E-901E-302096EE7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1">
              <a:extLst>
                <a:ext uri="{FF2B5EF4-FFF2-40B4-BE49-F238E27FC236}">
                  <a16:creationId xmlns:a16="http://schemas.microsoft.com/office/drawing/2014/main" id="{85A409F0-8E5C-483A-8235-335007D6A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2">
              <a:extLst>
                <a:ext uri="{FF2B5EF4-FFF2-40B4-BE49-F238E27FC236}">
                  <a16:creationId xmlns:a16="http://schemas.microsoft.com/office/drawing/2014/main" id="{1DFF74D5-D178-4368-B328-18269D372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3" name="AutoShape 93">
              <a:extLst>
                <a:ext uri="{FF2B5EF4-FFF2-40B4-BE49-F238E27FC236}">
                  <a16:creationId xmlns:a16="http://schemas.microsoft.com/office/drawing/2014/main" id="{D07DAA89-8115-49C3-9135-DA11B3671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702619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- Balance Inqui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C3300927-4C77-4ED0-A86A-7E2A3B618C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199" y="2193953"/>
            <a:ext cx="5943600" cy="12731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C0D6C68-2E61-4EA1-B106-1B217122E918}"/>
              </a:ext>
            </a:extLst>
          </p:cNvPr>
          <p:cNvSpPr/>
          <p:nvPr/>
        </p:nvSpPr>
        <p:spPr>
          <a:xfrm>
            <a:off x="5135865" y="3007565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o return to the main interface, click “Back”</a:t>
            </a:r>
          </a:p>
        </p:txBody>
      </p:sp>
      <p:sp>
        <p:nvSpPr>
          <p:cNvPr id="16" name="Arrow: Up 15">
            <a:extLst>
              <a:ext uri="{FF2B5EF4-FFF2-40B4-BE49-F238E27FC236}">
                <a16:creationId xmlns:a16="http://schemas.microsoft.com/office/drawing/2014/main" id="{F80220C8-1AD4-4513-879B-E87830B940EC}"/>
              </a:ext>
            </a:extLst>
          </p:cNvPr>
          <p:cNvSpPr/>
          <p:nvPr/>
        </p:nvSpPr>
        <p:spPr>
          <a:xfrm rot="16200000">
            <a:off x="4907902" y="3056902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473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7EBF6E0A-79B0-490A-9169-CFAE3868059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0199" y="2210171"/>
            <a:ext cx="5943600" cy="120904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- Withdra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C0D6C68-2E61-4EA1-B106-1B217122E918}"/>
              </a:ext>
            </a:extLst>
          </p:cNvPr>
          <p:cNvSpPr/>
          <p:nvPr/>
        </p:nvSpPr>
        <p:spPr>
          <a:xfrm>
            <a:off x="2012810" y="2968043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o return to the main interface, click “Back”</a:t>
            </a:r>
          </a:p>
        </p:txBody>
      </p:sp>
      <p:sp>
        <p:nvSpPr>
          <p:cNvPr id="16" name="Arrow: Up 15">
            <a:extLst>
              <a:ext uri="{FF2B5EF4-FFF2-40B4-BE49-F238E27FC236}">
                <a16:creationId xmlns:a16="http://schemas.microsoft.com/office/drawing/2014/main" id="{F80220C8-1AD4-4513-879B-E87830B940EC}"/>
              </a:ext>
            </a:extLst>
          </p:cNvPr>
          <p:cNvSpPr/>
          <p:nvPr/>
        </p:nvSpPr>
        <p:spPr>
          <a:xfrm rot="5400000">
            <a:off x="3603427" y="3024876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4374D68-03EA-47CC-AB47-1E69DE57089A}"/>
              </a:ext>
            </a:extLst>
          </p:cNvPr>
          <p:cNvSpPr/>
          <p:nvPr/>
        </p:nvSpPr>
        <p:spPr>
          <a:xfrm>
            <a:off x="5566168" y="2968043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o Withdraw specified amount, click “Withdraw”</a:t>
            </a:r>
          </a:p>
        </p:txBody>
      </p:sp>
      <p:sp>
        <p:nvSpPr>
          <p:cNvPr id="19" name="Arrow: Up 18">
            <a:extLst>
              <a:ext uri="{FF2B5EF4-FFF2-40B4-BE49-F238E27FC236}">
                <a16:creationId xmlns:a16="http://schemas.microsoft.com/office/drawing/2014/main" id="{E1A5F687-8ABC-44CE-88BF-60D13EEF263E}"/>
              </a:ext>
            </a:extLst>
          </p:cNvPr>
          <p:cNvSpPr/>
          <p:nvPr/>
        </p:nvSpPr>
        <p:spPr>
          <a:xfrm rot="16200000">
            <a:off x="5338205" y="3017380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19181EF-4005-4F6B-9655-4C71B9C0680A}"/>
              </a:ext>
            </a:extLst>
          </p:cNvPr>
          <p:cNvSpPr/>
          <p:nvPr/>
        </p:nvSpPr>
        <p:spPr>
          <a:xfrm>
            <a:off x="3826547" y="1910506"/>
            <a:ext cx="1565022" cy="442046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Must specify a multiple of $20.</a:t>
            </a:r>
          </a:p>
          <a:p>
            <a:pPr algn="ctr"/>
            <a:r>
              <a:rPr lang="en-US" sz="800" b="1" dirty="0">
                <a:solidFill>
                  <a:schemeClr val="tx1"/>
                </a:solidFill>
              </a:rPr>
              <a:t>+/- buttons implemented to enforce this requirement.</a:t>
            </a:r>
          </a:p>
        </p:txBody>
      </p:sp>
      <p:sp>
        <p:nvSpPr>
          <p:cNvPr id="21" name="Arrow: Up 20">
            <a:extLst>
              <a:ext uri="{FF2B5EF4-FFF2-40B4-BE49-F238E27FC236}">
                <a16:creationId xmlns:a16="http://schemas.microsoft.com/office/drawing/2014/main" id="{39BEB860-237A-4BC7-9C4B-28B2493DFA51}"/>
              </a:ext>
            </a:extLst>
          </p:cNvPr>
          <p:cNvSpPr/>
          <p:nvPr/>
        </p:nvSpPr>
        <p:spPr>
          <a:xfrm rot="10800000">
            <a:off x="4507874" y="2351973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5664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45D832F9-2FF9-45B2-B522-8DA0C708B4B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0199" y="1910506"/>
            <a:ext cx="5943600" cy="194754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– Withdraw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19181EF-4005-4F6B-9655-4C71B9C0680A}"/>
              </a:ext>
            </a:extLst>
          </p:cNvPr>
          <p:cNvSpPr/>
          <p:nvPr/>
        </p:nvSpPr>
        <p:spPr>
          <a:xfrm>
            <a:off x="3653104" y="2165201"/>
            <a:ext cx="1837789" cy="54924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A user cannot withdraw more money than there is in the account. Negative balances are not accepted.</a:t>
            </a:r>
          </a:p>
        </p:txBody>
      </p:sp>
    </p:spTree>
    <p:extLst>
      <p:ext uri="{BB962C8B-B14F-4D97-AF65-F5344CB8AC3E}">
        <p14:creationId xmlns:p14="http://schemas.microsoft.com/office/powerpoint/2010/main" val="41325794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18E68DC-05F0-44B1-92F5-BECED1CC589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0200" y="1918238"/>
            <a:ext cx="5943600" cy="177673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– Withdraw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19181EF-4005-4F6B-9655-4C71B9C0680A}"/>
              </a:ext>
            </a:extLst>
          </p:cNvPr>
          <p:cNvSpPr/>
          <p:nvPr/>
        </p:nvSpPr>
        <p:spPr>
          <a:xfrm>
            <a:off x="3927084" y="2175205"/>
            <a:ext cx="1289832" cy="38524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Successful withdrawal has taken place</a:t>
            </a:r>
          </a:p>
        </p:txBody>
      </p:sp>
    </p:spTree>
    <p:extLst>
      <p:ext uri="{BB962C8B-B14F-4D97-AF65-F5344CB8AC3E}">
        <p14:creationId xmlns:p14="http://schemas.microsoft.com/office/powerpoint/2010/main" val="9056956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AC041BD-E3C3-4BF8-ACB6-99847B205B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0613" y="1458648"/>
            <a:ext cx="5317761" cy="267308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– Depos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19181EF-4005-4F6B-9655-4C71B9C0680A}"/>
              </a:ext>
            </a:extLst>
          </p:cNvPr>
          <p:cNvSpPr/>
          <p:nvPr/>
        </p:nvSpPr>
        <p:spPr>
          <a:xfrm>
            <a:off x="3934577" y="1316398"/>
            <a:ext cx="1289832" cy="38524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Only select bills and coins are accepted by the AT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A2B121-FFFD-4FFB-8B63-063C16094A37}"/>
              </a:ext>
            </a:extLst>
          </p:cNvPr>
          <p:cNvSpPr/>
          <p:nvPr/>
        </p:nvSpPr>
        <p:spPr>
          <a:xfrm>
            <a:off x="85631" y="1496311"/>
            <a:ext cx="1641011" cy="414936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he bills stored in the ATM will update upon refreshing the page</a:t>
            </a:r>
          </a:p>
        </p:txBody>
      </p:sp>
      <p:sp>
        <p:nvSpPr>
          <p:cNvPr id="21" name="Arrow: Up 20">
            <a:extLst>
              <a:ext uri="{FF2B5EF4-FFF2-40B4-BE49-F238E27FC236}">
                <a16:creationId xmlns:a16="http://schemas.microsoft.com/office/drawing/2014/main" id="{182FB74C-3748-46F3-A2DE-7E12DE5116A9}"/>
              </a:ext>
            </a:extLst>
          </p:cNvPr>
          <p:cNvSpPr/>
          <p:nvPr/>
        </p:nvSpPr>
        <p:spPr>
          <a:xfrm>
            <a:off x="1404552" y="1237140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6907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– Depos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BA2B121-FFFD-4FFB-8B63-063C16094A37}"/>
              </a:ext>
            </a:extLst>
          </p:cNvPr>
          <p:cNvSpPr/>
          <p:nvPr/>
        </p:nvSpPr>
        <p:spPr>
          <a:xfrm>
            <a:off x="4382598" y="890531"/>
            <a:ext cx="1641011" cy="414936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Notice that the number of $50 bills has changed following the deposit sessi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92FE673-3AA4-4634-82EA-8A847FAC5A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9840" y="1319598"/>
            <a:ext cx="5324318" cy="313429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39158C8-E9F2-477F-A552-0731420C26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569" y="992637"/>
            <a:ext cx="3394688" cy="259264"/>
          </a:xfrm>
          <a:prstGeom prst="rect">
            <a:avLst/>
          </a:prstGeom>
        </p:spPr>
      </p:pic>
      <p:sp>
        <p:nvSpPr>
          <p:cNvPr id="21" name="Arrow: Up 20">
            <a:extLst>
              <a:ext uri="{FF2B5EF4-FFF2-40B4-BE49-F238E27FC236}">
                <a16:creationId xmlns:a16="http://schemas.microsoft.com/office/drawing/2014/main" id="{182FB74C-3748-46F3-A2DE-7E12DE5116A9}"/>
              </a:ext>
            </a:extLst>
          </p:cNvPr>
          <p:cNvSpPr/>
          <p:nvPr/>
        </p:nvSpPr>
        <p:spPr>
          <a:xfrm rot="16200000">
            <a:off x="4144238" y="988228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0301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Heroku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Cloud Application Platform based on a managed container system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Platform as a service (PaaS)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Integrated data services and powerful ecosystem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App-centric approach for software delivery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Allows us to build, run and operate our app entirely in the cloud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Basic services available free of char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See Other/atm_backend/atm_serv.p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Heroku allows for easy set up of the database and uses the same commands as SQ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The web server would call the predefined SQL queries (using insert, select and updat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Example 1: </a:t>
            </a:r>
            <a:r>
              <a:rPr lang="en-US" sz="1800" dirty="0" err="1"/>
              <a:t>name_exists</a:t>
            </a:r>
            <a:r>
              <a:rPr lang="en-US" sz="1800" dirty="0"/>
              <a:t> is a select query to check if a user already exists on the databa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Example 2: </a:t>
            </a:r>
            <a:r>
              <a:rPr lang="en-US" sz="1800" dirty="0" err="1"/>
              <a:t>create_account</a:t>
            </a:r>
            <a:r>
              <a:rPr lang="en-US" sz="1800" dirty="0"/>
              <a:t> uses insert to create the new account on signup scre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Example 3: update uses an update command to update the value of the account Balan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 Implemen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0362098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36035"/>
            <a:ext cx="1660029" cy="3188824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1112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1112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1112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  <a:p>
              <a:pPr marL="171450" indent="-11112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Installation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36035"/>
            <a:ext cx="1661319" cy="3188824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cs typeface="+mn-cs"/>
                </a:rPr>
                <a:t>The UI is kept </a:t>
              </a: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intuitive and user-friendly,</a:t>
              </a:r>
              <a:r>
                <a:rPr lang="nl-NL" sz="900" dirty="0">
                  <a:solidFill>
                    <a:srgbClr val="002776"/>
                  </a:solidFill>
                  <a:latin typeface="Arial"/>
                  <a:cs typeface="+mn-cs"/>
                </a:rPr>
                <a:t> with basic functions including sign up, login, view balance, deposit and withdraw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2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Logi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Creates session for bank transac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User can create new account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View Balanc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View current amount of money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eposit/Withdraw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pports modifying balance and checks if user can withdraw without overdrawing.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36035"/>
            <a:ext cx="1661319" cy="3188824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cs typeface="+mn-cs"/>
                </a:rPr>
                <a:t>The ATM project has built in security features.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5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ES (Encryption)</a:t>
              </a: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 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Secure and fast symmetric key to encrypt traffic between server and client.</a:t>
              </a:r>
              <a:endParaRPr lang="nl-NL" sz="8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ish (Hashing)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Hide PIN from system admins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dd a layer of authentication when user submits PIN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Future Upgrad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Server Authentica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Client Authentica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36035"/>
            <a:ext cx="1660028" cy="3188824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cs typeface="+mn-cs"/>
                </a:rPr>
                <a:t>This project uses the Heroku Postgre-SQL database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5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Ease of Usag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oesn’t require as much effort to set up as building a new MySQL server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Ease of Credentials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Doesn’t require as much effort to set up as building a new MySQL server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3244" lvl="2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BCF2307-2FA7-47E7-B6A2-02C8C56759FA}"/>
              </a:ext>
            </a:extLst>
          </p:cNvPr>
          <p:cNvSpPr/>
          <p:nvPr/>
        </p:nvSpPr>
        <p:spPr>
          <a:xfrm>
            <a:off x="1179713" y="4084820"/>
            <a:ext cx="6784576" cy="4047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github repository</a:t>
            </a:r>
            <a:r>
              <a:rPr lang="en-US" dirty="0">
                <a:solidFill>
                  <a:schemeClr val="tx1"/>
                </a:solidFill>
              </a:rPr>
              <a:t>: https://github.com/mari-husain/csharp-atm</a:t>
            </a:r>
          </a:p>
        </p:txBody>
      </p: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A3E26-F389-4B4B-A7AA-F3D31C238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ing Encryption Alternati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64E63-FB41-4A4C-AD57-71F0CE08C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1282B-EB8C-436D-9426-855F0536B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0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7A21B640-01C9-49D4-9322-0569DCD4378D}"/>
              </a:ext>
            </a:extLst>
          </p:cNvPr>
          <p:cNvGrpSpPr>
            <a:grpSpLocks/>
          </p:cNvGrpSpPr>
          <p:nvPr/>
        </p:nvGrpSpPr>
        <p:grpSpPr bwMode="auto">
          <a:xfrm>
            <a:off x="1169393" y="819981"/>
            <a:ext cx="3294261" cy="3733205"/>
            <a:chOff x="300" y="872"/>
            <a:chExt cx="1847" cy="4076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0BADBD83-B447-4283-9130-504F33BA91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>
                <a:tabLst>
                  <a:tab pos="2513013" algn="l"/>
                </a:tabLst>
              </a:pPr>
              <a:r>
                <a:rPr lang="en-US" sz="1050" b="1" dirty="0">
                  <a:solidFill>
                    <a:srgbClr val="FFFFFF"/>
                  </a:solidFill>
                </a:rPr>
                <a:t>Systematic-Key Encryption (e.g. AES)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BA10DF-97B8-46FB-BC7F-7B6855AB1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877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ymmetric Key, permits for encryption and decryption of plaintext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Performance Strength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n AES-128 bit key is faster than public key algorithms like RSA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n AES is more resistant to quantum computers than RSA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ES-128 is equivalent to 3072 bit RSA key. An AES-256 key is equal to a 15360 RSA bit key. 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Weakness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hould the Secret Key be stolen if the Database is hacked, the security benefit of AES is nullified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Weakness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ES secret key needs to pre-installed on the client and server. This can be resolved through using the Diffie-Hellman Key Exchange.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128BE839-BAC8-473A-AFFC-F39A083B08C8}"/>
              </a:ext>
            </a:extLst>
          </p:cNvPr>
          <p:cNvGrpSpPr>
            <a:grpSpLocks/>
          </p:cNvGrpSpPr>
          <p:nvPr/>
        </p:nvGrpSpPr>
        <p:grpSpPr bwMode="auto">
          <a:xfrm>
            <a:off x="4670030" y="819980"/>
            <a:ext cx="3294261" cy="3740531"/>
            <a:chOff x="300" y="872"/>
            <a:chExt cx="1847" cy="3931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41A46EB4-A2C7-4077-9947-1E3DF27E5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381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Hash Function (e.g. SHA, blowfish)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55DEF1-95F7-4204-B9DF-349D06C68B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732"/>
            </a:xfrm>
            <a:prstGeom prst="rect">
              <a:avLst/>
            </a:pr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Hashing is a one way function that is used for authentication.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: A system admin can’t see a PIN in plaintext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ish is roughly equivalent to SHA-256 in strength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robust and resistant brute force attacks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t is difficult to use an array of graphics cards to attempt to find the correct input of a Blowfish Hash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HA-256 strength/weakness is it can be implemented on GPUs, giving attackers a computational boost</a:t>
              </a:r>
            </a:p>
            <a:p>
              <a:pPr marL="230188" lvl="2" indent="-117475" defTabSz="718463">
                <a:lnSpc>
                  <a:spcPct val="106000"/>
                </a:lnSpc>
                <a:spcBef>
                  <a:spcPts val="432"/>
                </a:spcBef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mplementation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imple with Bcrypt</a:t>
              </a:r>
            </a:p>
            <a:p>
              <a:pPr marL="452343" lvl="3" indent="-171450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 Easy blowflish package for C#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Obtained with Nuget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Add salt to protect against Rainow Tables (pre-computed hashes)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89">
            <a:extLst>
              <a:ext uri="{FF2B5EF4-FFF2-40B4-BE49-F238E27FC236}">
                <a16:creationId xmlns:a16="http://schemas.microsoft.com/office/drawing/2014/main" id="{EDBD6329-3D34-4655-9A38-4D6CD5041A3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2" name="AutoShape 90">
              <a:extLst>
                <a:ext uri="{FF2B5EF4-FFF2-40B4-BE49-F238E27FC236}">
                  <a16:creationId xmlns:a16="http://schemas.microsoft.com/office/drawing/2014/main" id="{53E89711-8A6C-485B-A44F-E262EF384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1">
              <a:extLst>
                <a:ext uri="{FF2B5EF4-FFF2-40B4-BE49-F238E27FC236}">
                  <a16:creationId xmlns:a16="http://schemas.microsoft.com/office/drawing/2014/main" id="{130485AE-0B9A-4EB0-8316-80B3E96B6B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2">
              <a:extLst>
                <a:ext uri="{FF2B5EF4-FFF2-40B4-BE49-F238E27FC236}">
                  <a16:creationId xmlns:a16="http://schemas.microsoft.com/office/drawing/2014/main" id="{50DD37AB-A200-426D-BC11-C0C631463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3">
              <a:extLst>
                <a:ext uri="{FF2B5EF4-FFF2-40B4-BE49-F238E27FC236}">
                  <a16:creationId xmlns:a16="http://schemas.microsoft.com/office/drawing/2014/main" id="{89969121-A38E-4B0F-A3E8-DBF833FFF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129279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D1D6A-EBA0-4371-80DC-0AEED3308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sh Function Encryp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F7CC9D-72D8-4F52-8CEB-115691CB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3B7DE4-A4BE-47EB-8469-2C3C3379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B0FA30-53A6-491C-B711-B4E96DCD1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10946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Deterministic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4054060-759D-4A74-BDB7-357624750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10946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re-image </a:t>
            </a:r>
          </a:p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E796D9-E2ED-4FD0-83D0-9EA50413F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1094686"/>
            <a:ext cx="1142801" cy="10287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Adaptive </a:t>
            </a:r>
          </a:p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6033C8-978F-41DE-9042-00C5BF194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assword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hashing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6754E7-D25A-4379-B68D-163DE91566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32663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OpenBSD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DD01AD-C7A4-40FC-B1A8-2EA6672A2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t to 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ainbow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table attac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0BE4F0-6B5F-40C6-A2F8-66563C6CAF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ast block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ciph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90040E-4408-44F4-8B2C-AA19425AB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218053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Collision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DD19C1-04C6-4C68-A0F6-BFBD2EF71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Small memory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ootprint</a:t>
            </a:r>
          </a:p>
        </p:txBody>
      </p:sp>
      <p:sp>
        <p:nvSpPr>
          <p:cNvPr id="14" name="AutoShape 12">
            <a:extLst>
              <a:ext uri="{FF2B5EF4-FFF2-40B4-BE49-F238E27FC236}">
                <a16:creationId xmlns:a16="http://schemas.microsoft.com/office/drawing/2014/main" id="{44C90306-4765-4206-A3F7-19C3EFFF0F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9511" y="1094686"/>
            <a:ext cx="273447" cy="3200400"/>
          </a:xfrm>
          <a:prstGeom prst="homePlate">
            <a:avLst>
              <a:gd name="adj" fmla="val 100000"/>
            </a:avLst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tIns="68580" bIns="68580" anchor="ctr"/>
          <a:lstStyle/>
          <a:p>
            <a:pPr algn="ctr"/>
            <a:endParaRPr lang="en-GB" sz="1050"/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4B1A9823-FB2C-493D-B8EE-F54113E3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899" y="1094687"/>
            <a:ext cx="1542653" cy="323969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Secure Online </a:t>
            </a:r>
          </a:p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Teller Machine</a:t>
            </a:r>
          </a:p>
        </p:txBody>
      </p:sp>
      <p:grpSp>
        <p:nvGrpSpPr>
          <p:cNvPr id="16" name="Group 89">
            <a:extLst>
              <a:ext uri="{FF2B5EF4-FFF2-40B4-BE49-F238E27FC236}">
                <a16:creationId xmlns:a16="http://schemas.microsoft.com/office/drawing/2014/main" id="{6B064F14-8ED3-4B7C-B76D-3F317DF71CB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7" name="AutoShape 90">
              <a:extLst>
                <a:ext uri="{FF2B5EF4-FFF2-40B4-BE49-F238E27FC236}">
                  <a16:creationId xmlns:a16="http://schemas.microsoft.com/office/drawing/2014/main" id="{E8E004F8-1E30-4C9B-BCD7-88F90F324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8" name="AutoShape 91">
              <a:extLst>
                <a:ext uri="{FF2B5EF4-FFF2-40B4-BE49-F238E27FC236}">
                  <a16:creationId xmlns:a16="http://schemas.microsoft.com/office/drawing/2014/main" id="{D3ED2936-1C50-4C5F-B75E-26603D240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9" name="AutoShape 92">
              <a:extLst>
                <a:ext uri="{FF2B5EF4-FFF2-40B4-BE49-F238E27FC236}">
                  <a16:creationId xmlns:a16="http://schemas.microsoft.com/office/drawing/2014/main" id="{E4C8AEC3-B9B2-40A6-843B-C2BCEC4DD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3">
              <a:extLst>
                <a:ext uri="{FF2B5EF4-FFF2-40B4-BE49-F238E27FC236}">
                  <a16:creationId xmlns:a16="http://schemas.microsoft.com/office/drawing/2014/main" id="{692B0CCF-94E5-4923-8418-9BD6BC131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958829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 marL="171450" indent="-171450">
              <a:buFont typeface="+mj-lt"/>
              <a:buAutoNum type="arabicPeriod"/>
            </a:pPr>
            <a:endParaRPr lang="en-US" sz="1400" dirty="0"/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User enters PIN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hashes the PIN using Blowfish algorithm (with salt)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sends [Hashed PIN + salt] to 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Signup: </a:t>
            </a:r>
            <a:r>
              <a:rPr lang="en-US" sz="1400" dirty="0">
                <a:solidFill>
                  <a:schemeClr val="bg1"/>
                </a:solidFill>
              </a:rPr>
              <a:t>Server stores [Hashed PIN + salt] in database. The original copy is created when a user makes their account.</a:t>
            </a: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Login:</a:t>
            </a:r>
            <a:r>
              <a:rPr lang="en-US" sz="1400" dirty="0">
                <a:solidFill>
                  <a:schemeClr val="bg1"/>
                </a:solidFill>
              </a:rPr>
              <a:t> Server verifies Hashed PIN against value in database</a:t>
            </a:r>
            <a:endParaRPr lang="en-US" sz="1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3568959" cy="368108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e can use TLS and have signed certificates placed on client and server</a:t>
            </a:r>
          </a:p>
          <a:p>
            <a:r>
              <a:rPr lang="en-US" dirty="0"/>
              <a:t>Server encrypts hash with a Private key. Client decrypts with </a:t>
            </a:r>
            <a:r>
              <a:rPr lang="en-US"/>
              <a:t>Public Key.</a:t>
            </a:r>
            <a:endParaRPr lang="en-US" dirty="0"/>
          </a:p>
          <a:p>
            <a:r>
              <a:rPr lang="en-US" dirty="0"/>
              <a:t>Since only the server has the private key, it assures the client it is communicating with the server.</a:t>
            </a:r>
          </a:p>
          <a:p>
            <a:r>
              <a:rPr lang="en-US" dirty="0"/>
              <a:t>Compute AES key using Diffie-Hellma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upgrades: T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28D70EDE-B0AF-4F47-9201-AB43AA057E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53" y="833657"/>
            <a:ext cx="4471122" cy="36695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</p:pic>
      <p:grpSp>
        <p:nvGrpSpPr>
          <p:cNvPr id="26" name="Group 89">
            <a:extLst>
              <a:ext uri="{FF2B5EF4-FFF2-40B4-BE49-F238E27FC236}">
                <a16:creationId xmlns:a16="http://schemas.microsoft.com/office/drawing/2014/main" id="{6B0D1118-200C-4290-92A4-12FFD280069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27" name="AutoShape 90">
              <a:extLst>
                <a:ext uri="{FF2B5EF4-FFF2-40B4-BE49-F238E27FC236}">
                  <a16:creationId xmlns:a16="http://schemas.microsoft.com/office/drawing/2014/main" id="{E9FC7A62-A723-4753-BB34-3ECA301F6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8" name="AutoShape 91">
              <a:extLst>
                <a:ext uri="{FF2B5EF4-FFF2-40B4-BE49-F238E27FC236}">
                  <a16:creationId xmlns:a16="http://schemas.microsoft.com/office/drawing/2014/main" id="{9FCEC873-271B-4CAD-B2DC-7C1B8F8CF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9" name="AutoShape 92">
              <a:extLst>
                <a:ext uri="{FF2B5EF4-FFF2-40B4-BE49-F238E27FC236}">
                  <a16:creationId xmlns:a16="http://schemas.microsoft.com/office/drawing/2014/main" id="{0A8F3222-F9EB-4DBB-BB1B-3C64F2659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30" name="AutoShape 93">
              <a:extLst>
                <a:ext uri="{FF2B5EF4-FFF2-40B4-BE49-F238E27FC236}">
                  <a16:creationId xmlns:a16="http://schemas.microsoft.com/office/drawing/2014/main" id="{34BBB945-F4C4-4DDF-9A9D-740CEF0B48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3054422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52DFAC-08D5-4E61-9C75-093063A70A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/>
              <a:t>Mary Husain </a:t>
            </a:r>
            <a:r>
              <a:rPr lang="en-US" dirty="0"/>
              <a:t>(Leader)</a:t>
            </a:r>
            <a:endParaRPr lang="en-US" sz="1800" dirty="0"/>
          </a:p>
          <a:p>
            <a:pPr>
              <a:buFontTx/>
              <a:buChar char="-"/>
            </a:pPr>
            <a:r>
              <a:rPr lang="en-US" sz="1800" dirty="0"/>
              <a:t>Built the Backend Heroku Database for the ATM</a:t>
            </a:r>
          </a:p>
          <a:p>
            <a:pPr marL="0" indent="0">
              <a:buNone/>
            </a:pPr>
            <a:r>
              <a:rPr lang="en-US" sz="1800" dirty="0"/>
              <a:t>- Set up network communication between front end and backend</a:t>
            </a:r>
          </a:p>
          <a:p>
            <a:pPr marL="0" indent="0">
              <a:buNone/>
            </a:pPr>
            <a:r>
              <a:rPr lang="en-US" b="1" dirty="0"/>
              <a:t>Andrew Quijano</a:t>
            </a:r>
          </a:p>
          <a:p>
            <a:pPr>
              <a:buFontTx/>
              <a:buChar char="-"/>
            </a:pPr>
            <a:r>
              <a:rPr lang="en-US" sz="1800" dirty="0"/>
              <a:t>Completed PowerPoint slides on installation, security, etc.</a:t>
            </a:r>
          </a:p>
          <a:p>
            <a:pPr>
              <a:buFontTx/>
              <a:buChar char="-"/>
            </a:pPr>
            <a:r>
              <a:rPr lang="en-US" sz="1800" dirty="0"/>
              <a:t>Completed overall system design and code documentation</a:t>
            </a:r>
          </a:p>
          <a:p>
            <a:pPr marL="0" indent="0">
              <a:buNone/>
            </a:pPr>
            <a:r>
              <a:rPr lang="en-US" b="1" dirty="0"/>
              <a:t>Bryce </a:t>
            </a:r>
            <a:r>
              <a:rPr lang="en-US" b="1" dirty="0" err="1"/>
              <a:t>Yoo</a:t>
            </a:r>
            <a:endParaRPr lang="en-US" b="1" dirty="0"/>
          </a:p>
          <a:p>
            <a:pPr>
              <a:buFontTx/>
              <a:buChar char="-"/>
            </a:pPr>
            <a:r>
              <a:rPr lang="en-US" sz="1800" dirty="0"/>
              <a:t>Prepared project PowerPoint presentation</a:t>
            </a:r>
          </a:p>
          <a:p>
            <a:pPr>
              <a:buFontTx/>
              <a:buChar char="-"/>
            </a:pPr>
            <a:r>
              <a:rPr lang="en-US" sz="1800" dirty="0"/>
              <a:t>Designed and wrote front end of webpage</a:t>
            </a:r>
          </a:p>
          <a:p>
            <a:pPr marL="0" indent="0">
              <a:buNone/>
            </a:pPr>
            <a:r>
              <a:rPr lang="en-US" b="1" dirty="0"/>
              <a:t>Michal </a:t>
            </a:r>
            <a:r>
              <a:rPr lang="en-US" b="1" dirty="0" err="1"/>
              <a:t>Porubcin</a:t>
            </a:r>
            <a:endParaRPr lang="en-US" b="1" dirty="0"/>
          </a:p>
          <a:p>
            <a:pPr>
              <a:buFontTx/>
              <a:buChar char="-"/>
            </a:pPr>
            <a:r>
              <a:rPr lang="en-US" sz="1800" dirty="0"/>
              <a:t>Implemented AES and Hashing to the ATM service</a:t>
            </a:r>
          </a:p>
          <a:p>
            <a:pPr>
              <a:buFontTx/>
              <a:buChar char="-"/>
            </a:pPr>
            <a:r>
              <a:rPr lang="en-US" sz="1800" dirty="0"/>
              <a:t>Tested ATM program for bugs and valid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387B3E-22A5-4DA8-9AD0-433236139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7FEA34-A186-4AA3-9620-E3DDD4843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Distribu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01F5D4-CCDD-4F4B-8707-0E338C269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53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93731-B6D0-4120-9237-B6FEC807D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0AD65F-8875-42A1-B847-2AB5B518D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0F7B23-9327-4840-838B-D96D17AA9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5" name="Group 3">
            <a:extLst>
              <a:ext uri="{FF2B5EF4-FFF2-40B4-BE49-F238E27FC236}">
                <a16:creationId xmlns:a16="http://schemas.microsoft.com/office/drawing/2014/main" id="{1AE51934-E3AA-477D-B1F2-24C34FB304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4623998"/>
              </p:ext>
            </p:extLst>
          </p:nvPr>
        </p:nvGraphicFramePr>
        <p:xfrm>
          <a:off x="1179710" y="1340305"/>
          <a:ext cx="6775692" cy="3402638"/>
        </p:xfrm>
        <a:graphic>
          <a:graphicData uri="http://schemas.openxmlformats.org/drawingml/2006/table">
            <a:tbl>
              <a:tblPr/>
              <a:tblGrid>
                <a:gridCol w="16939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08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6097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rs/Servic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r featur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M Services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/Sign up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gnup Scree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 Screen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oku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y it i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w it is used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ed Security Featur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A-256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6097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de Documentation/Workflow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ork Flow Diagram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de Design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in Interfac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 Scree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gnup Screen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 Implement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ble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amples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sh Function Encryp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owfish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y it i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amples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7103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tall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quired Packag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ify Accoun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posi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draw 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 View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 runtime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ture Developmen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M Server Authentic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ient Authentication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AutoShape 32">
            <a:extLst>
              <a:ext uri="{FF2B5EF4-FFF2-40B4-BE49-F238E27FC236}">
                <a16:creationId xmlns:a16="http://schemas.microsoft.com/office/drawing/2014/main" id="{5C0BB23B-FD5F-40FF-BD44-91C9AF28DB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103" y="856343"/>
            <a:ext cx="1793025" cy="438150"/>
          </a:xfrm>
          <a:prstGeom prst="chevron">
            <a:avLst>
              <a:gd name="adj" fmla="val 34952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Core Functionality</a:t>
            </a:r>
          </a:p>
        </p:txBody>
      </p:sp>
      <p:sp>
        <p:nvSpPr>
          <p:cNvPr id="7" name="AutoShape 33">
            <a:extLst>
              <a:ext uri="{FF2B5EF4-FFF2-40B4-BE49-F238E27FC236}">
                <a16:creationId xmlns:a16="http://schemas.microsoft.com/office/drawing/2014/main" id="{7EA527C2-BAC6-4E8F-8F87-475053ADA2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3286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8" name="AutoShape 34">
            <a:extLst>
              <a:ext uri="{FF2B5EF4-FFF2-40B4-BE49-F238E27FC236}">
                <a16:creationId xmlns:a16="http://schemas.microsoft.com/office/drawing/2014/main" id="{2C53D9A4-EB50-4F16-8EF2-59C3E4E152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762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Database</a:t>
            </a:r>
          </a:p>
        </p:txBody>
      </p:sp>
      <p:sp>
        <p:nvSpPr>
          <p:cNvPr id="9" name="AutoShape 35">
            <a:extLst>
              <a:ext uri="{FF2B5EF4-FFF2-40B4-BE49-F238E27FC236}">
                <a16:creationId xmlns:a16="http://schemas.microsoft.com/office/drawing/2014/main" id="{533689AF-1CEC-46D9-9C51-E7CC01A5C7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2377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Encryption</a:t>
            </a:r>
          </a:p>
        </p:txBody>
      </p:sp>
    </p:spTree>
    <p:extLst>
      <p:ext uri="{BB962C8B-B14F-4D97-AF65-F5344CB8AC3E}">
        <p14:creationId xmlns:p14="http://schemas.microsoft.com/office/powerpoint/2010/main" val="2746532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392819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66453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User Accounts</a:t>
            </a:r>
          </a:p>
          <a:p>
            <a:pPr marL="458787" lvl="1" indent="-285750">
              <a:buFont typeface="Wingdings" panose="05000000000000000000" pitchFamily="2" charset="2"/>
              <a:buChar char="v"/>
            </a:pPr>
            <a:r>
              <a:rPr lang="en-US" sz="1700" dirty="0"/>
              <a:t>First Name</a:t>
            </a:r>
          </a:p>
          <a:p>
            <a:pPr marL="458787" lvl="1" indent="-285750">
              <a:buFont typeface="Wingdings" panose="05000000000000000000" pitchFamily="2" charset="2"/>
              <a:buChar char="v"/>
            </a:pPr>
            <a:r>
              <a:rPr lang="en-US" sz="1700" dirty="0"/>
              <a:t>Last Name</a:t>
            </a:r>
          </a:p>
          <a:p>
            <a:pPr marL="458787" lvl="1" indent="-285750">
              <a:buFont typeface="Wingdings" panose="05000000000000000000" pitchFamily="2" charset="2"/>
              <a:buChar char="v"/>
            </a:pPr>
            <a:r>
              <a:rPr lang="en-US" sz="1700" dirty="0"/>
              <a:t>PIN Code</a:t>
            </a:r>
          </a:p>
          <a:p>
            <a:pPr marL="458787" lvl="1" indent="-285750">
              <a:buFont typeface="Wingdings" panose="05000000000000000000" pitchFamily="2" charset="2"/>
              <a:buChar char="v"/>
            </a:pPr>
            <a:r>
              <a:rPr lang="en-US" sz="1700" dirty="0"/>
              <a:t>Account Balance</a:t>
            </a:r>
          </a:p>
          <a:p>
            <a:pPr marL="0" indent="0">
              <a:buNone/>
            </a:pPr>
            <a:r>
              <a:rPr lang="en-US" dirty="0"/>
              <a:t>Services</a:t>
            </a:r>
          </a:p>
          <a:p>
            <a:pPr marL="173037" lvl="1" indent="0">
              <a:buNone/>
            </a:pPr>
            <a:r>
              <a:rPr lang="en-US" sz="1700" dirty="0"/>
              <a:t>Withdrawals</a:t>
            </a:r>
          </a:p>
          <a:p>
            <a:pPr marL="742950" lvl="2" indent="-285750">
              <a:buFont typeface="Wingdings" panose="05000000000000000000" pitchFamily="2" charset="2"/>
              <a:buChar char="v"/>
            </a:pPr>
            <a:r>
              <a:rPr lang="en-US" dirty="0"/>
              <a:t>Multiples of $20</a:t>
            </a:r>
          </a:p>
          <a:p>
            <a:pPr marL="742950" lvl="2" indent="-285750">
              <a:buFont typeface="Wingdings" panose="05000000000000000000" pitchFamily="2" charset="2"/>
              <a:buChar char="v"/>
            </a:pPr>
            <a:r>
              <a:rPr lang="en-US" dirty="0"/>
              <a:t>Quick withdrawal options from $20 - $100</a:t>
            </a:r>
          </a:p>
          <a:p>
            <a:pPr marL="742950" lvl="2" indent="-285750">
              <a:buFont typeface="Wingdings" panose="05000000000000000000" pitchFamily="2" charset="2"/>
              <a:buChar char="v"/>
            </a:pPr>
            <a:r>
              <a:rPr lang="en-US" dirty="0"/>
              <a:t>Manual for amounts larger than $100</a:t>
            </a:r>
          </a:p>
          <a:p>
            <a:pPr marL="173037" lvl="1" indent="0">
              <a:buNone/>
            </a:pPr>
            <a:r>
              <a:rPr lang="en-US" sz="1700" dirty="0"/>
              <a:t>Deposits</a:t>
            </a:r>
          </a:p>
          <a:p>
            <a:pPr marL="742950" lvl="2" indent="-285750">
              <a:buFont typeface="Wingdings" panose="05000000000000000000" pitchFamily="2" charset="2"/>
              <a:buChar char="v"/>
            </a:pPr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</p:spPr>
        <p:txBody>
          <a:bodyPr/>
          <a:lstStyle/>
          <a:p>
            <a:r>
              <a:rPr lang="en-US" dirty="0"/>
              <a:t>To install: Create new Project, and select ASP.NET Web Application</a:t>
            </a:r>
          </a:p>
          <a:p>
            <a:r>
              <a:rPr lang="en-US" dirty="0"/>
              <a:t>Select ASP.NET 4.6.1 Templates, Web Form. </a:t>
            </a:r>
          </a:p>
          <a:p>
            <a:r>
              <a:rPr lang="en-US" dirty="0"/>
              <a:t>After copying/adding files to solutions, install the following packages (seen in </a:t>
            </a:r>
            <a:r>
              <a:rPr lang="en-US" dirty="0" err="1"/>
              <a:t>packages.config</a:t>
            </a:r>
            <a:r>
              <a:rPr lang="en-US" dirty="0"/>
              <a:t>) using Nuget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2CCCF9E-24ED-4729-9974-B19649A19B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335" y="2710357"/>
            <a:ext cx="8173330" cy="180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2526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Requir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er first name, last name, PIN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dirty="0"/>
              <a:t>Valid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cannot be blank/null (Exhibit 2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must match existing account (Exhibit 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Login information must be correct (Exhibit 4)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400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1688" y="815994"/>
            <a:ext cx="3101073" cy="13744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02BB518-C7A5-4FDB-B0C4-3745FCBC3BF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724" b="2542"/>
          <a:stretch/>
        </p:blipFill>
        <p:spPr>
          <a:xfrm>
            <a:off x="4851688" y="2464764"/>
            <a:ext cx="3101073" cy="1908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3051C2D-1D2B-4AD4-B5E8-90B674B23A85}"/>
              </a:ext>
            </a:extLst>
          </p:cNvPr>
          <p:cNvSpPr/>
          <p:nvPr/>
        </p:nvSpPr>
        <p:spPr>
          <a:xfrm>
            <a:off x="6115049" y="2248525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FBB18C-CACF-4D45-8F9E-2034567535E9}"/>
              </a:ext>
            </a:extLst>
          </p:cNvPr>
          <p:cNvSpPr/>
          <p:nvPr/>
        </p:nvSpPr>
        <p:spPr>
          <a:xfrm>
            <a:off x="6115049" y="4434771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2</a:t>
            </a:r>
          </a:p>
        </p:txBody>
      </p: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3051C2D-1D2B-4AD4-B5E8-90B674B23A85}"/>
              </a:ext>
            </a:extLst>
          </p:cNvPr>
          <p:cNvSpPr/>
          <p:nvPr/>
        </p:nvSpPr>
        <p:spPr>
          <a:xfrm>
            <a:off x="2272456" y="3870586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FBB18C-CACF-4D45-8F9E-2034567535E9}"/>
              </a:ext>
            </a:extLst>
          </p:cNvPr>
          <p:cNvSpPr/>
          <p:nvPr/>
        </p:nvSpPr>
        <p:spPr>
          <a:xfrm>
            <a:off x="6329054" y="3685549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4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FD698E8-E0DB-4BF8-BD1F-8F0C5B3C79D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699935" y="1452940"/>
            <a:ext cx="3812875" cy="215957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869" y="1430455"/>
            <a:ext cx="3841682" cy="236208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553066B-5DF8-4065-B00C-EEF91868C931}"/>
              </a:ext>
            </a:extLst>
          </p:cNvPr>
          <p:cNvSpPr/>
          <p:nvPr/>
        </p:nvSpPr>
        <p:spPr>
          <a:xfrm>
            <a:off x="632363" y="1098639"/>
            <a:ext cx="3813048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Entries must match an existing accoun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0500E29-85BA-4F84-8238-27F8823FA225}"/>
              </a:ext>
            </a:extLst>
          </p:cNvPr>
          <p:cNvSpPr/>
          <p:nvPr/>
        </p:nvSpPr>
        <p:spPr>
          <a:xfrm>
            <a:off x="4699935" y="1098639"/>
            <a:ext cx="3812875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Login information must be correct</a:t>
            </a:r>
          </a:p>
        </p:txBody>
      </p:sp>
    </p:spTree>
    <p:extLst>
      <p:ext uri="{BB962C8B-B14F-4D97-AF65-F5344CB8AC3E}">
        <p14:creationId xmlns:p14="http://schemas.microsoft.com/office/powerpoint/2010/main" val="30599527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3568959" cy="368108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Requir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er first name, last name, PIN, confirm (Exhibit 5)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dirty="0"/>
              <a:t>Valid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cannot be blank/null (Exhibit 6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PIN must be numbers (Exhibit 7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No limit on PIN length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PIN must match confirm PIN (Exhibit 8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Only one combination of first/last name can exist </a:t>
            </a:r>
            <a:r>
              <a:rPr lang="en-US" sz="1200" dirty="0">
                <a:sym typeface="Wingdings" panose="05000000000000000000" pitchFamily="2" charset="2"/>
              </a:rPr>
              <a:t> 1 account per user! (Exhibit 9)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200" dirty="0">
              <a:sym typeface="Wingdings" panose="05000000000000000000" pitchFamily="2" charset="2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92ED2B39-4D73-4CBE-A554-DA0EF1F1C14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225985" y="848740"/>
            <a:ext cx="3764220" cy="20743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76619D5-ADB0-4288-A01D-E6571AE3E79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5234689" y="1816568"/>
            <a:ext cx="3653643" cy="26834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4628F21-EFE6-4220-8F16-497276D802C2}"/>
              </a:ext>
            </a:extLst>
          </p:cNvPr>
          <p:cNvSpPr/>
          <p:nvPr/>
        </p:nvSpPr>
        <p:spPr>
          <a:xfrm>
            <a:off x="8132165" y="917318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5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9F7416B-3975-4096-8A12-EC27FE1D99A4}"/>
              </a:ext>
            </a:extLst>
          </p:cNvPr>
          <p:cNvSpPr/>
          <p:nvPr/>
        </p:nvSpPr>
        <p:spPr>
          <a:xfrm>
            <a:off x="4571999" y="4321655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6</a:t>
            </a:r>
          </a:p>
        </p:txBody>
      </p:sp>
    </p:spTree>
    <p:extLst>
      <p:ext uri="{BB962C8B-B14F-4D97-AF65-F5344CB8AC3E}">
        <p14:creationId xmlns:p14="http://schemas.microsoft.com/office/powerpoint/2010/main" val="3349423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3051C2D-1D2B-4AD4-B5E8-90B674B23A85}"/>
              </a:ext>
            </a:extLst>
          </p:cNvPr>
          <p:cNvSpPr/>
          <p:nvPr/>
        </p:nvSpPr>
        <p:spPr>
          <a:xfrm>
            <a:off x="2272456" y="3983011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FBB18C-CACF-4D45-8F9E-2034567535E9}"/>
              </a:ext>
            </a:extLst>
          </p:cNvPr>
          <p:cNvSpPr/>
          <p:nvPr/>
        </p:nvSpPr>
        <p:spPr>
          <a:xfrm>
            <a:off x="6329054" y="3983011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8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553066B-5DF8-4065-B00C-EEF91868C931}"/>
              </a:ext>
            </a:extLst>
          </p:cNvPr>
          <p:cNvSpPr/>
          <p:nvPr/>
        </p:nvSpPr>
        <p:spPr>
          <a:xfrm>
            <a:off x="632363" y="1098639"/>
            <a:ext cx="3813048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PIN must consist of number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0500E29-85BA-4F84-8238-27F8823FA225}"/>
              </a:ext>
            </a:extLst>
          </p:cNvPr>
          <p:cNvSpPr/>
          <p:nvPr/>
        </p:nvSpPr>
        <p:spPr>
          <a:xfrm>
            <a:off x="4699935" y="1098639"/>
            <a:ext cx="3812875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PIN must match Confirm PIN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2EBD28C-F738-4C75-B480-CD59F6A1CA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660" y="1422808"/>
            <a:ext cx="3832226" cy="255592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158A7E9-58F9-4CD2-8525-19162D4E91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9935" y="1407544"/>
            <a:ext cx="3813048" cy="253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974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65</TotalTime>
  <Words>1528</Words>
  <Application>Microsoft Office PowerPoint</Application>
  <PresentationFormat>On-screen Show (16:9)</PresentationFormat>
  <Paragraphs>309</Paragraphs>
  <Slides>24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ＭＳ Ｐゴシック</vt:lpstr>
      <vt:lpstr>Arial</vt:lpstr>
      <vt:lpstr>Bookman Old Style</vt:lpstr>
      <vt:lpstr>Calibri</vt:lpstr>
      <vt:lpstr>Courier New</vt:lpstr>
      <vt:lpstr>Gill Sans MT</vt:lpstr>
      <vt:lpstr>Times New Roman</vt:lpstr>
      <vt:lpstr>Wingdings</vt:lpstr>
      <vt:lpstr>Wingdings 2</vt:lpstr>
      <vt:lpstr>Office Theme</vt:lpstr>
      <vt:lpstr>ATM Project</vt:lpstr>
      <vt:lpstr>Overview</vt:lpstr>
      <vt:lpstr>Overview</vt:lpstr>
      <vt:lpstr>Core Functionality</vt:lpstr>
      <vt:lpstr>Installation</vt:lpstr>
      <vt:lpstr>Login Screen and Validation</vt:lpstr>
      <vt:lpstr>Login Screen Validation</vt:lpstr>
      <vt:lpstr>Sign up Screen and Validation</vt:lpstr>
      <vt:lpstr>Sign up Screen Validation</vt:lpstr>
      <vt:lpstr>Sign up Screen Validation</vt:lpstr>
      <vt:lpstr>UI - Main Interface</vt:lpstr>
      <vt:lpstr>UI - Balance Inquiry</vt:lpstr>
      <vt:lpstr>UI - Withdraw</vt:lpstr>
      <vt:lpstr>UI – Withdraw Validation</vt:lpstr>
      <vt:lpstr>UI – Withdraw Validation</vt:lpstr>
      <vt:lpstr>UI – Deposit</vt:lpstr>
      <vt:lpstr>UI – Deposit</vt:lpstr>
      <vt:lpstr>Database</vt:lpstr>
      <vt:lpstr>Database Implementation</vt:lpstr>
      <vt:lpstr>Exploring Encryption Alternatives</vt:lpstr>
      <vt:lpstr>Hash Function Encryption</vt:lpstr>
      <vt:lpstr>Encryption and Security</vt:lpstr>
      <vt:lpstr>Future upgrades: TLS</vt:lpstr>
      <vt:lpstr>Work Distribu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Bryce Yoo</cp:lastModifiedBy>
  <cp:revision>440</cp:revision>
  <dcterms:created xsi:type="dcterms:W3CDTF">2017-10-26T16:02:00Z</dcterms:created>
  <dcterms:modified xsi:type="dcterms:W3CDTF">2018-03-07T18:53:26Z</dcterms:modified>
</cp:coreProperties>
</file>